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4"/>
  </p:sldMasterIdLst>
  <p:notesMasterIdLst>
    <p:notesMasterId r:id="rId6"/>
  </p:notesMasterIdLst>
  <p:handoutMasterIdLst>
    <p:handoutMasterId r:id="rId7"/>
  </p:handoutMasterIdLst>
  <p:sldIdLst>
    <p:sldId id="376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114" d="100"/>
          <a:sy n="114" d="100"/>
        </p:scale>
        <p:origin x="1806" y="114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16/03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16/03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N°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6282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900774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OR E VANTAGEN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pt-BR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ÇÃO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/>
              <a:t>Previna paradas por falta de peça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pt-BR"/>
              <a:t>Atualização módulo campo CLP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 Obsolescê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SRAA, SREV, SRSC, SFB, SRE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o catálogo: OCF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622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200" b="1" dirty="0"/>
              <a:t>Solução mais segura com componente novo disponível no mercado.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200" b="1" dirty="0">
                <a:solidFill>
                  <a:srgbClr val="E64B00"/>
                </a:solidFill>
              </a:rPr>
              <a:t>Previne longas paradas em caso de falha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A produção dos adaptadores Allen Bradley DH+/RIO foi descontinuada pelos fabricantes.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200">
                <a:solidFill>
                  <a:srgbClr val="000000"/>
                </a:solidFill>
              </a:rPr>
              <a:t>Risco iminente de indisponibilidade de peça de reposição.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Risco de parada prolongada de equipamentos em fábricas de envase.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200" b="1" dirty="0">
                <a:solidFill>
                  <a:srgbClr val="E64B00"/>
                </a:solidFill>
              </a:rPr>
              <a:t>Protocolo de comunicação aperfeiçoado, graças à norma de comunicação IP Ethernet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sz="1200" b="1" dirty="0">
                <a:solidFill>
                  <a:srgbClr val="E64B00"/>
                </a:solidFill>
              </a:rPr>
              <a:t>Continuidade de fluxo de peças de reposição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200">
                <a:solidFill>
                  <a:srgbClr val="000000"/>
                </a:solidFill>
              </a:rPr>
              <a:t>Solução de hardware atualizada com componentes totalmente ativos: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200">
                <a:solidFill>
                  <a:srgbClr val="000000"/>
                </a:solidFill>
              </a:rPr>
              <a:t>O novo sistema consiste em novos adaptadores tipo IP Ethernet e novos cabos de protocolo.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200">
                <a:solidFill>
                  <a:srgbClr val="000000"/>
                </a:solidFill>
              </a:rPr>
              <a:t>Possibilidade de avaliar a atualização de IHM, CLP e conversores de frequência, ou caso a caso.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sz="1200">
                <a:solidFill>
                  <a:srgbClr val="000000"/>
                </a:solidFill>
              </a:rPr>
              <a:t>*Aplicabilidade a ser avaliada caso a caso.</a:t>
            </a:r>
          </a:p>
        </p:txBody>
      </p:sp>
      <p:sp>
        <p:nvSpPr>
          <p:cNvPr id="29" name="CasellaDiTesto 10">
            <a:extLst>
              <a:ext uri="{FF2B5EF4-FFF2-40B4-BE49-F238E27FC236}">
                <a16:creationId xmlns:a16="http://schemas.microsoft.com/office/drawing/2014/main" id="{05A0C63E-A7CD-4992-B259-7934A73B74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59204" y="4172259"/>
            <a:ext cx="3694509" cy="14025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pt-BR" sz="900" b="1" i="1">
                <a:solidFill>
                  <a:schemeClr val="folHlink"/>
                </a:solidFill>
              </a:rPr>
              <a:t>Atualização de módulos periféricos de automação</a:t>
            </a:r>
          </a:p>
        </p:txBody>
      </p:sp>
      <p:pic>
        <p:nvPicPr>
          <p:cNvPr id="30" name="Picture 4">
            <a:extLst>
              <a:ext uri="{FF2B5EF4-FFF2-40B4-BE49-F238E27FC236}">
                <a16:creationId xmlns:a16="http://schemas.microsoft.com/office/drawing/2014/main" id="{95FBF2EA-C5AB-412C-B77A-44C47FE53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9859" y="4625888"/>
            <a:ext cx="1575197" cy="754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31D4CBA-38BB-4A16-B14D-63E8DDD99B9C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0C7BFD0-2EEA-4A51-8CFD-13182750CD3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C635C79-9E3B-4B14-B4B1-59D83671FA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11191c-8472-4eb5-a739-69bdbf5e66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0</TotalTime>
  <Words>162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5" baseType="lpstr">
      <vt:lpstr>Arial</vt:lpstr>
      <vt:lpstr>Wingdings</vt:lpstr>
      <vt:lpstr>1_NewSidel_Template_4x3_with add layouts</vt:lpstr>
      <vt:lpstr>think-cell Folie</vt:lpstr>
      <vt:lpstr>Previna paradas por falta de peç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Chantal BONO | Studia Ingénierie</cp:lastModifiedBy>
  <cp:revision>253</cp:revision>
  <dcterms:created xsi:type="dcterms:W3CDTF">2019-02-20T10:39:16Z</dcterms:created>
  <dcterms:modified xsi:type="dcterms:W3CDTF">2020-03-16T08:4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